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sldIdLst>
    <p:sldId id="370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187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595986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720615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7034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307325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7328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703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0" imgW="399" imgH="399" progId="TCLayout.ActiveDocument.1">
                  <p:embed/>
                </p:oleObj>
              </mc:Choice>
              <mc:Fallback>
                <p:oleObj name="think-cell Folie" r:id="rId10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October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546008,&quot;Placement&quot;:&quot;Footer&quot;,&quot;Top&quot;:524.1047,&quot;Left&quot;:338.909119,&quot;SlideWidth&quot;:720,&quot;SlideHeight&quot;:540}">
            <a:extLst>
              <a:ext uri="{FF2B5EF4-FFF2-40B4-BE49-F238E27FC236}">
                <a16:creationId xmlns:a16="http://schemas.microsoft.com/office/drawing/2014/main" id="{47F7BF96-B587-48AE-87F5-514DCE9E298E}"/>
              </a:ext>
            </a:extLst>
          </p:cNvPr>
          <p:cNvSpPr txBox="1"/>
          <p:nvPr userDrawn="1"/>
        </p:nvSpPr>
        <p:spPr>
          <a:xfrm>
            <a:off x="4304146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it-IT" sz="7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8"/>
    </p:custDataLst>
    <p:extLst>
      <p:ext uri="{BB962C8B-B14F-4D97-AF65-F5344CB8AC3E}">
        <p14:creationId xmlns:p14="http://schemas.microsoft.com/office/powerpoint/2010/main" val="1745396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265007"/>
            <a:ext cx="7991475" cy="4534901"/>
            <a:chOff x="650875" y="1906524"/>
            <a:chExt cx="7991475" cy="4042232"/>
          </a:xfrm>
        </p:grpSpPr>
        <p:sp>
          <p:nvSpPr>
            <p:cNvPr id="24" name="Rechteck 12"/>
            <p:cNvSpPr>
              <a:spLocks noChangeAspect="1"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endPara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9458" name="Objekt 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461665"/>
          </a:xfrm>
        </p:spPr>
        <p:txBody>
          <a:bodyPr/>
          <a:lstStyle/>
          <a:p>
            <a:r>
              <a:rPr lang="en-US" dirty="0"/>
              <a:t>Anticipate spare parts shortage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0560" y="955332"/>
            <a:ext cx="7997825" cy="300601"/>
          </a:xfrm>
        </p:spPr>
        <p:txBody>
          <a:bodyPr/>
          <a:lstStyle/>
          <a:p>
            <a:r>
              <a:rPr lang="en-GB" dirty="0"/>
              <a:t>New </a:t>
            </a:r>
            <a:r>
              <a:rPr lang="fr-FR" dirty="0"/>
              <a:t>stretching </a:t>
            </a:r>
            <a:r>
              <a:rPr lang="fr-FR" dirty="0" err="1"/>
              <a:t>motor</a:t>
            </a:r>
            <a:r>
              <a:rPr lang="fr-FR" dirty="0"/>
              <a:t> for SBO 1LAB </a:t>
            </a:r>
            <a:r>
              <a:rPr lang="fr-FR" dirty="0" err="1"/>
              <a:t>serie</a:t>
            </a:r>
            <a:r>
              <a:rPr lang="fr-FR" dirty="0"/>
              <a:t> 1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70560" y="5886536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bsolescence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Series 1 Blower - SBO 1LAB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OCB002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1754286"/>
            <a:ext cx="3890963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alt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 with the latest components available, comes with a revamped HMI</a:t>
            </a:r>
          </a:p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alt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nt long downtimes in case of failure of the original stretching motor and its associated electronics</a:t>
            </a:r>
          </a:p>
          <a:p>
            <a:pPr marL="479822" marR="0" lvl="1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altLang="x-non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are part unavailability.</a:t>
            </a:r>
          </a:p>
          <a:p>
            <a:pPr marL="479822" marR="0" lvl="1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altLang="x-non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g downtime for SBO 1LAB = 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osing bottle development opportunities</a:t>
            </a:r>
            <a:endParaRPr kumimoji="0" lang="en-US" altLang="x-non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79822" marR="0" lvl="1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x-non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59EFB3E-C16F-48CC-B865-4F07766E308B}"/>
              </a:ext>
            </a:extLst>
          </p:cNvPr>
          <p:cNvSpPr/>
          <p:nvPr/>
        </p:nvSpPr>
        <p:spPr>
          <a:xfrm>
            <a:off x="4741895" y="1710473"/>
            <a:ext cx="3890963" cy="10802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motor for the stretching unit</a:t>
            </a:r>
          </a:p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drive</a:t>
            </a:r>
          </a:p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PLC CPU</a:t>
            </a:r>
          </a:p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touch scree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D9CC0F1-5B93-4F10-AD4A-FFE12F5BE82A}"/>
              </a:ext>
            </a:extLst>
          </p:cNvPr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4809394" y="3002521"/>
            <a:ext cx="3788296" cy="2698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4" ma:contentTypeDescription="Create a new document." ma:contentTypeScope="" ma:versionID="27636654c8115701020ca392872e4872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c19524f70d74f8e0ffe24873d7efa6c4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A21A205-B06B-41DF-9C85-6DC4D4A013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0F24532-32F0-4D16-83D7-1D8F326D25F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D8C418-6F06-4846-821E-1FC83414F4EC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7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ticipate spare parts shortage</dc:title>
  <dc:creator>Pomo, Claudio</dc:creator>
  <cp:lastModifiedBy>Pomo, Claudio</cp:lastModifiedBy>
  <cp:revision>1</cp:revision>
  <dcterms:created xsi:type="dcterms:W3CDTF">2021-10-12T09:11:40Z</dcterms:created>
  <dcterms:modified xsi:type="dcterms:W3CDTF">2021-10-12T09:1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etDate">
    <vt:lpwstr>2021-10-12T09:12:06Z</vt:lpwstr>
  </property>
  <property fmtid="{D5CDD505-2E9C-101B-9397-08002B2CF9AE}" pid="4" name="MSIP_Label_94480757-a570-4f64-84e7-c5b3ffe9d573_Method">
    <vt:lpwstr>Privileged</vt:lpwstr>
  </property>
  <property fmtid="{D5CDD505-2E9C-101B-9397-08002B2CF9AE}" pid="5" name="MSIP_Label_94480757-a570-4f64-84e7-c5b3ffe9d573_Name">
    <vt:lpwstr>General</vt:lpwstr>
  </property>
  <property fmtid="{D5CDD505-2E9C-101B-9397-08002B2CF9AE}" pid="6" name="MSIP_Label_94480757-a570-4f64-84e7-c5b3ffe9d573_SiteId">
    <vt:lpwstr>2390cbd1-e663-4321-bc93-ba298637ce52</vt:lpwstr>
  </property>
  <property fmtid="{D5CDD505-2E9C-101B-9397-08002B2CF9AE}" pid="7" name="MSIP_Label_94480757-a570-4f64-84e7-c5b3ffe9d573_ActionId">
    <vt:lpwstr>e7c65fa2-89b5-471e-ae92-a55cdef3eaf6</vt:lpwstr>
  </property>
  <property fmtid="{D5CDD505-2E9C-101B-9397-08002B2CF9AE}" pid="8" name="MSIP_Label_94480757-a570-4f64-84e7-c5b3ffe9d573_ContentBits">
    <vt:lpwstr>2</vt:lpwstr>
  </property>
  <property fmtid="{D5CDD505-2E9C-101B-9397-08002B2CF9AE}" pid="9" name="ContentTypeId">
    <vt:lpwstr>0x01010093238E6399ADC743975B72739A574501</vt:lpwstr>
  </property>
</Properties>
</file>